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201212-8717-4CA6-AFFE-B85CC845040B}" v="27" dt="2023-11-06T10:57:57.114"/>
    <p1510:client id="{9D1BC172-0EAD-6968-C181-436101082AB7}" v="35" dt="2023-11-06T07:54:29.632"/>
    <p1510:client id="{A7B5EAE8-3D48-2D73-C9FA-A2291B2715C8}" v="105" dt="2023-11-06T15:58:35.879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FF582-27E0-4C6D-81F0-64140543C51C}" type="datetimeFigureOut">
              <a:rPr lang="de-DE" smtClean="0"/>
              <a:t>06.11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CCB011-1079-496D-AA0E-A31E25E65FB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NUL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NUL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NULL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NULL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NULL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NULL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NULL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NULL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NULL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tesa.international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de.pinterest.com/tesaDIY" TargetMode="Externa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hyperlink" Target="http://www.tesa.com/" TargetMode="External"/><Relationship Id="rId11" Type="http://schemas.openxmlformats.org/officeDocument/2006/relationships/hyperlink" Target="https://www.linkedin.com/company/tesa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www.youtube.com/channel/UCxE8yjhhxL95tfua3bAH6yg" TargetMode="External"/><Relationship Id="rId4" Type="http://schemas.openxmlformats.org/officeDocument/2006/relationships/oleObject" Target="../embeddings/oleObject55.bin"/><Relationship Id="rId9" Type="http://schemas.openxmlformats.org/officeDocument/2006/relationships/hyperlink" Target="https://twitter.com/tesa_press" TargetMode="Externa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hyperlink" Target="http://www.tesa.cn/" TargetMode="External"/><Relationship Id="rId5" Type="http://schemas.openxmlformats.org/officeDocument/2006/relationships/image" Target="NULL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NULL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US"/>
              <a:t>Title slide with taped headline, Arial Narrow 36 </a:t>
            </a:r>
            <a:r>
              <a:rPr lang="en-US" err="1"/>
              <a:t>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rial Narrow 36 </a:t>
            </a:r>
            <a:r>
              <a:rPr lang="en-GB" noProof="0" err="1"/>
              <a:t>pt</a:t>
            </a:r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rial Narrow 36 </a:t>
            </a:r>
            <a:r>
              <a:rPr lang="en-GB" noProof="0" err="1"/>
              <a:t>pt</a:t>
            </a:r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,</a:t>
            </a:r>
            <a:r>
              <a:rPr lang="en-GB" noProof="0"/>
              <a:t>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 two boxes,</a:t>
            </a:r>
            <a:r>
              <a:rPr lang="en-GB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 three boxes,</a:t>
            </a:r>
            <a:r>
              <a:rPr lang="en-GB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Only title,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Topline, Arial Regular 1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Topline, Arial Regular 1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Subheading, Arial Regular 16 </a:t>
            </a:r>
            <a:r>
              <a:rPr lang="en-GB" noProof="0" err="1"/>
              <a:t>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,</a:t>
            </a:r>
            <a:r>
              <a:rPr lang="en-US" noProof="0"/>
              <a:t>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and two boxes,</a:t>
            </a:r>
            <a:r>
              <a:rPr lang="en-US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nly title with taped headline,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U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US" noProof="0"/>
              <a:t>Title slide white text, max. 2 lines,</a:t>
            </a:r>
            <a:br>
              <a:rPr lang="en-US" noProof="0"/>
            </a:br>
            <a:r>
              <a:rPr lang="en-US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 err="1"/>
              <a:t>ontent</a:t>
            </a:r>
            <a:r>
              <a:rPr lang="en-US"/>
              <a:t>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>
            <a:norm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ontent text, Arial Regular 14 pt</a:t>
            </a:r>
          </a:p>
          <a:p>
            <a:pPr lvl="1"/>
            <a:r>
              <a:rPr lang="en-GB" noProof="0"/>
              <a:t>Content bullet, Arial Regular 14 pt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ontent text, Arial Regular 14 pt</a:t>
            </a:r>
          </a:p>
          <a:p>
            <a:pPr lvl="1"/>
            <a:r>
              <a:rPr lang="en-GB" noProof="0"/>
              <a:t>Content bullet, Arial Regular 14 pt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en-GB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  <a:br>
              <a:rPr lang="en-GB"/>
            </a:br>
            <a:r>
              <a:rPr lang="en-GB"/>
              <a:t>with blue box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blue </a:t>
            </a:r>
            <a:br>
              <a:rPr lang="en-GB"/>
            </a:br>
            <a:r>
              <a:rPr lang="en-GB"/>
              <a:t>and white box right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GB" noProof="0"/>
              <a:t>Title slide dark text, max. 2 lines,</a:t>
            </a:r>
            <a:br>
              <a:rPr lang="en-GB" noProof="0"/>
            </a:br>
            <a:r>
              <a:rPr lang="en-GB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blue </a:t>
            </a:r>
            <a:br>
              <a:rPr lang="en-GB"/>
            </a:br>
            <a:r>
              <a:rPr lang="en-GB"/>
              <a:t>and white box left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lef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anchor="t">
            <a:noAutofit/>
          </a:bodyPr>
          <a:lstStyle>
            <a:lvl1pPr>
              <a:defRPr lang="en-GB" smtClean="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Blue box left </a:t>
            </a:r>
            <a:br>
              <a:rPr lang="en-GB"/>
            </a:br>
            <a:r>
              <a:rPr lang="en-GB"/>
              <a:t>with key message 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 video</a:t>
            </a:r>
          </a:p>
          <a:p>
            <a:endParaRPr lang="en-GB" noProof="0"/>
          </a:p>
          <a:p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 video</a:t>
            </a:r>
          </a:p>
          <a:p>
            <a:endParaRPr lang="en-GB" noProof="0"/>
          </a:p>
          <a:p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lef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U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icture and</a:t>
            </a:r>
            <a:br>
              <a:rPr lang="en-US"/>
            </a:br>
            <a:r>
              <a:rPr lang="en-US"/>
              <a:t>blue box left </a:t>
            </a:r>
            <a:br>
              <a:rPr lang="en-US"/>
            </a:br>
            <a:r>
              <a:rPr lang="en-US"/>
              <a:t>with key message,</a:t>
            </a:r>
            <a:br>
              <a:rPr lang="en-US"/>
            </a:br>
            <a:r>
              <a:rPr lang="en-US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</a:t>
            </a:r>
          </a:p>
          <a:p>
            <a:pPr lvl="2"/>
            <a:r>
              <a:rPr lang="en-US"/>
              <a:t>Content bullet</a:t>
            </a:r>
          </a:p>
          <a:p>
            <a:pPr lvl="3"/>
            <a:r>
              <a:rPr lang="en-US"/>
              <a:t>Content bull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right with </a:t>
            </a:r>
            <a:br>
              <a:rPr lang="en-GB"/>
            </a:br>
            <a:r>
              <a:rPr lang="en-GB"/>
              <a:t>white background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left with </a:t>
            </a:r>
            <a:br>
              <a:rPr lang="en-GB"/>
            </a:br>
            <a:r>
              <a:rPr lang="en-GB"/>
              <a:t>white background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white background, Arial Narrow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/>
            <a:r>
              <a:rPr lang="en-GB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„Quote with </a:t>
            </a:r>
            <a:r>
              <a:rPr lang="en-US" err="1"/>
              <a:t>fullsize</a:t>
            </a:r>
            <a:r>
              <a:rPr lang="en-US"/>
              <a:t> picture,</a:t>
            </a:r>
            <a:br>
              <a:rPr lang="en-US"/>
            </a:br>
            <a:r>
              <a:rPr lang="en-US"/>
              <a:t>Arial Narrow 32 </a:t>
            </a:r>
            <a:r>
              <a:rPr lang="en-US" err="1"/>
              <a:t>pt</a:t>
            </a:r>
            <a:r>
              <a:rPr lang="en-US"/>
              <a:t>“</a:t>
            </a:r>
          </a:p>
          <a:p>
            <a:pPr lvl="1"/>
            <a:r>
              <a:rPr lang="de-DE" sz="1600" err="1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r>
              <a:rPr lang="en-GB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/>
          <a:lstStyle>
            <a:lvl1pPr rtl="0">
              <a:defRPr sz="4400" b="0"/>
            </a:lvl1pPr>
          </a:lstStyle>
          <a:p>
            <a:r>
              <a:rPr lang="en-GB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Content text, Arial Regular 16 pt</a:t>
            </a:r>
          </a:p>
          <a:p>
            <a:pPr lvl="1"/>
            <a:r>
              <a:rPr lang="en-GB" noProof="0"/>
              <a:t>Content bullet, Arial Regular 16 pt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,</a:t>
            </a:r>
            <a:br>
              <a:rPr lang="en-GB" noProof="0"/>
            </a:br>
            <a:r>
              <a:rPr lang="en-GB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5">
            <a:hlinkClick r:id="rId7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9">
            <a:hlinkClick r:id="rId8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3">
            <a:hlinkClick r:id="rId9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hlinkClick r:id="rId10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1">
            <a:hlinkClick r:id="rId11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QR </a:t>
            </a:r>
            <a:br>
              <a:rPr lang="en-GB"/>
            </a:br>
            <a:r>
              <a:rPr lang="en-GB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7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QR </a:t>
            </a:r>
            <a:br>
              <a:rPr lang="en-GB"/>
            </a:br>
            <a:r>
              <a:rPr lang="en-GB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Learn more about our company</a:t>
            </a:r>
            <a:br>
              <a:rPr lang="en-GB"/>
            </a:br>
            <a:r>
              <a:rPr lang="en-GB"/>
              <a:t>Please enter your UR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de-DE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234E5-33F5-4408-9231-62FD3F1E43C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en-US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en-US" sz="2400"/>
              <a:t>The information is proprietary to tesa SE. Any disclosure, use, copying </a:t>
            </a:r>
            <a:br>
              <a:rPr lang="en-US" sz="2400"/>
            </a:br>
            <a:r>
              <a:rPr lang="en-US" sz="2400"/>
              <a:t>or distribution of the contents of this document, in whole or part, is strictly </a:t>
            </a:r>
            <a:br>
              <a:rPr lang="en-US" sz="2400"/>
            </a:br>
            <a:r>
              <a:rPr lang="en-US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anchor="ctr" anchorCtr="0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Agenda with picture, </a:t>
            </a:r>
            <a:r>
              <a:rPr lang="en-GB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2" imgW="270" imgH="270" progId="TCLayout.ActiveDocument.1">
                  <p:embed/>
                </p:oleObj>
              </mc:Choice>
              <mc:Fallback>
                <p:oleObj name="think-cell Folie" r:id="rId62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/>
          <a:p>
            <a:r>
              <a:rPr lang="en-US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/>
          <a:p>
            <a:pPr lvl="0"/>
            <a:r>
              <a:rPr lang="en-US"/>
              <a:t>Content text, Arial Regular 14pt</a:t>
            </a:r>
          </a:p>
          <a:p>
            <a:pPr lvl="1"/>
            <a:r>
              <a:rPr lang="en-US"/>
              <a:t>Content bullet, Arial Regular 14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60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2612996" cy="626701"/>
          </a:xfrm>
        </p:spPr>
        <p:txBody>
          <a:bodyPr/>
          <a:lstStyle/>
          <a:p>
            <a:r>
              <a:rPr lang="en-GB" dirty="0"/>
              <a:t>100% origin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2776537" cy="626701"/>
          </a:xfrm>
        </p:spPr>
        <p:txBody>
          <a:bodyPr/>
          <a:lstStyle/>
          <a:p>
            <a:r>
              <a:rPr lang="en-GB" dirty="0"/>
              <a:t>40% less CO</a:t>
            </a:r>
            <a:r>
              <a:rPr lang="en-US" sz="3600" baseline="-25000" dirty="0"/>
              <a:t>2</a:t>
            </a:r>
            <a:r>
              <a:rPr lang="en-GB" dirty="0"/>
              <a:t>.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528886" cy="626701"/>
          </a:xfrm>
        </p:spPr>
        <p:txBody>
          <a:bodyPr/>
          <a:lstStyle/>
          <a:p>
            <a:r>
              <a:rPr lang="en-GB" dirty="0"/>
              <a:t>Makes sens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anchor="t">
            <a:spAutoFit/>
          </a:bodyPr>
          <a:lstStyle/>
          <a:p>
            <a:r>
              <a:rPr lang="en-GB">
                <a:solidFill>
                  <a:schemeClr val="bg1"/>
                </a:solidFill>
                <a:cs typeface="Arial"/>
              </a:rPr>
              <a:t>Resources and factsheet</a:t>
            </a:r>
            <a:endParaRPr lang="en-GB">
              <a:solidFill>
                <a:schemeClr val="bg1"/>
              </a:solidFill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3200" b="1" err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en-GB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en-GB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en-GB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3" y="1274790"/>
              <a:ext cx="3852118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800"/>
                <a:t>Same value, just less CO</a:t>
              </a:r>
              <a:r>
                <a:rPr lang="en-US" sz="2800" baseline="-25000"/>
                <a:t>2</a:t>
              </a:r>
              <a:r>
                <a:rPr lang="en-US" sz="2800"/>
                <a:t>.</a:t>
              </a:r>
              <a:endParaRPr lang="en-GB" sz="280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2200"/>
              <a:t> -40%* CO</a:t>
            </a:r>
            <a:r>
              <a:rPr lang="en-US" sz="2200" baseline="-25000"/>
              <a:t>2</a:t>
            </a:r>
            <a:r>
              <a:rPr lang="en-US" sz="2200"/>
              <a:t> based on figures from ISO 14067 verified study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GB" sz="2200"/>
              <a:t>Biomass balanced adhesive components and 90% PCR PET in the backing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2200"/>
              <a:t>Performs equally as reliably as older version in testing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800"/>
              </a:spcAft>
            </a:pPr>
            <a:r>
              <a:rPr lang="en-GB" sz="800" kern="0" dirty="0">
                <a:latin typeface="Arial"/>
                <a:ea typeface="Calibri"/>
                <a:cs typeface="Times New Roman"/>
              </a:rPr>
              <a:t>*Product Carbon Footprint (PCF) reduction for the new </a:t>
            </a:r>
            <a:r>
              <a:rPr lang="en-GB" sz="800" kern="0" dirty="0" err="1">
                <a:latin typeface="Arial"/>
                <a:ea typeface="Calibri"/>
                <a:cs typeface="Times New Roman"/>
              </a:rPr>
              <a:t>tesa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® 4965 Original Next Gen (50m x 50mm handroll, PV0: red MOPP liner) compared to the current </a:t>
            </a:r>
            <a:r>
              <a:rPr lang="en-GB" sz="800" kern="0" dirty="0" err="1">
                <a:latin typeface="Arial"/>
                <a:ea typeface="Calibri"/>
                <a:cs typeface="Times New Roman"/>
              </a:rPr>
              <a:t>tesa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® 4965 Original (50m x 50mm handroll, PV0: red MOPP liner) calculated in 2023 with Cradle-to-Gate values including biogenic carbon uptake. Individual PCF values for the other liner types (PV1, PV2, PV4) and further information you can find in our ISO 14067-compliant comparative PCF calculation on </a:t>
            </a:r>
            <a:r>
              <a:rPr lang="en-GB" sz="800" kern="0" dirty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1924" b="1924"/>
          <a:stretch/>
        </p:blipFill>
        <p:spPr>
          <a:xfrm>
            <a:off x="4038600" y="1995145"/>
            <a:ext cx="775335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7"/>
            <a:ext cx="3671887" cy="3743484"/>
          </a:xfrm>
          <a:noFill/>
        </p:spPr>
        <p:txBody>
          <a:bodyPr bIns="144000"/>
          <a:lstStyle/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1400" b="0">
                <a:solidFill>
                  <a:schemeClr val="tx1"/>
                </a:solidFill>
              </a:rPr>
              <a:t>Includes biomass balanced adhesive components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1400" b="0">
                <a:solidFill>
                  <a:schemeClr val="tx1"/>
                </a:solidFill>
              </a:rPr>
              <a:t>Non-fossil feedstocks are used in equivalent quantities of production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1400" b="0">
                <a:solidFill>
                  <a:schemeClr val="tx1"/>
                </a:solidFill>
              </a:rPr>
              <a:t>Components are tracked, verified and certified by ISCC PLUS 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1400" b="0">
                <a:solidFill>
                  <a:schemeClr val="tx1"/>
                </a:solidFill>
              </a:rPr>
              <a:t>Ensures the whole supply chain contains sufficient biomass balanced adhesive components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1400" b="0">
                <a:solidFill>
                  <a:schemeClr val="tx1"/>
                </a:solidFill>
              </a:rPr>
              <a:t>Enables customers to design more sustainable products in their own value chain, supporting sustainability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anchor="ctr">
            <a:normAutofit/>
          </a:bodyPr>
          <a:lstStyle/>
          <a:p>
            <a:r>
              <a:rPr lang="en-US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en-US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en-US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en-US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3230152" cy="565146"/>
          </a:xfrm>
        </p:spPr>
        <p:txBody>
          <a:bodyPr/>
          <a:lstStyle/>
          <a:p>
            <a:r>
              <a:rPr lang="en-GB" sz="3200"/>
              <a:t>From source to tap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3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l="7515" r="7515"/>
          <a:stretch/>
        </p:blipFill>
        <p:spPr>
          <a:xfrm>
            <a:off x="0" y="-1"/>
            <a:ext cx="6174967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lang="en-US" sz="2400"/>
          </a:p>
          <a:p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/>
          <a:lstStyle/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800"/>
              <a:t>Same product specification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800"/>
              <a:t>Same performance as tesa</a:t>
            </a:r>
            <a:r>
              <a:rPr lang="en-US" sz="1800" baseline="30000"/>
              <a:t>®</a:t>
            </a:r>
            <a:r>
              <a:rPr lang="en-US" sz="1800"/>
              <a:t> 4965 Original 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800"/>
              <a:t>Comparative tensile strength in the 90% PCR PET-backed tape to the original PET backing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800"/>
              <a:t>Equal percentage of elongation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1800"/>
              <a:t>Same peel adhes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>
            <a:normAutofit fontScale="90000"/>
          </a:bodyPr>
          <a:lstStyle/>
          <a:p>
            <a: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en-US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  <a:t>vs tesa</a:t>
            </a:r>
            <a:r>
              <a:rPr lang="en-US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en-US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en-US" sz="3000"/>
              <a:t>Same tape. Same reliable performance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4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92360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en-US" sz="32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en-US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en-US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en-US" sz="2800"/>
              <a:t>100% original. 40%* less CO</a:t>
            </a:r>
            <a:r>
              <a:rPr lang="en-US" sz="2800" baseline="-25000"/>
              <a:t>2</a:t>
            </a:r>
            <a:r>
              <a:rPr lang="en-US" sz="2800"/>
              <a:t>. Makes sense.</a:t>
            </a:r>
            <a:br>
              <a:rPr lang="en-US" sz="2800"/>
            </a:br>
            <a:endParaRPr lang="en-GB" sz="2800"/>
          </a:p>
          <a:p>
            <a:pPr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2200"/>
              <a:t>tesa</a:t>
            </a:r>
            <a:r>
              <a:rPr lang="en-US" sz="24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en-US" sz="2200" dirty="0"/>
              <a:t> 4965 Original – a trusted tape for four decades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2200" dirty="0"/>
              <a:t>A reliable solution across many industries and applications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en-US" sz="2200" dirty="0"/>
              <a:t>Now </a:t>
            </a:r>
            <a:r>
              <a:rPr lang="en-US" sz="2200"/>
              <a:t>available as </a:t>
            </a:r>
            <a:r>
              <a:rPr lang="en-US" sz="2200" dirty="0"/>
              <a:t>the</a:t>
            </a:r>
            <a:r>
              <a:rPr lang="en-US" sz="2200"/>
              <a:t> next generation – tesa</a:t>
            </a:r>
            <a:r>
              <a:rPr lang="en-US" sz="2200" baseline="30000"/>
              <a:t>®</a:t>
            </a:r>
            <a:r>
              <a:rPr lang="en-US" sz="2200"/>
              <a:t> 4965</a:t>
            </a:r>
            <a:r>
              <a:rPr lang="en-US" sz="2200" dirty="0"/>
              <a:t> Next Gen </a:t>
            </a:r>
            <a:r>
              <a:rPr lang="en-US" sz="2200"/>
              <a:t>–</a:t>
            </a:r>
            <a:r>
              <a:rPr lang="en-US" sz="2200" dirty="0"/>
              <a:t> with a 40%* reduction in CO</a:t>
            </a:r>
            <a:r>
              <a:rPr lang="en-US" sz="2400" baseline="-25000" dirty="0"/>
              <a:t>2</a:t>
            </a:r>
            <a:r>
              <a:rPr lang="en-US" sz="2200" dirty="0"/>
              <a:t> emiss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en-GB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Product Carbon Footprint (PCF) reduction for the new </a:t>
            </a:r>
            <a:r>
              <a:rPr lang="en-GB" sz="800" kern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a</a:t>
            </a:r>
            <a:r>
              <a:rPr lang="en-GB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 4965 Original Next Gen (50m x 50mm handroll, PV0: red MOPP liner) compared to the current </a:t>
            </a:r>
            <a:r>
              <a:rPr lang="en-GB" sz="800" kern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sa</a:t>
            </a:r>
            <a:r>
              <a:rPr lang="en-GB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 4965 Original (50m x 50mm handroll, PV0: red MOPP liner) calculated in 2023 with Cradle-to-Gate values including biogenic carbon uptake. Individual PCF values for the other liner types (PV1, PV2, PV4) and further information you can find in our ISO 14067-compliant comparative PCF calculation on tesa.com/4965-report.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00" b="1" err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en-GB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en-GB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en-GB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/>
              <a:t>Same versatility in application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viation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en-US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Securing LED lighting to the flooring within commercial airliners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200" b="1" dirty="0">
                  <a:solidFill>
                    <a:schemeClr val="bg1"/>
                  </a:solidFill>
                  <a:latin typeface="Arial"/>
                  <a:cs typeface="Arial"/>
                </a:rPr>
                <a:t>Point of Sale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Securing pricing displays in a retail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environment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200" b="1" dirty="0">
                  <a:solidFill>
                    <a:schemeClr val="bg1"/>
                  </a:solidFill>
                  <a:latin typeface="Arial"/>
                  <a:cs typeface="Arial"/>
                </a:rPr>
                <a:t>Electronic devices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Securing small (and tricky) components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200" b="1" dirty="0">
                  <a:solidFill>
                    <a:schemeClr val="bg1"/>
                  </a:solidFill>
                  <a:latin typeface="Arial"/>
                  <a:cs typeface="Arial"/>
                </a:rPr>
                <a:t>Logistics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Closing packaging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2200" b="1" dirty="0">
                  <a:solidFill>
                    <a:schemeClr val="bg1"/>
                  </a:solidFill>
                  <a:latin typeface="Arial"/>
                  <a:cs typeface="Arial"/>
                </a:rPr>
                <a:t>Building &amp; furniture components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Maximum bonding safety for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spc="-20" dirty="0">
                  <a:solidFill>
                    <a:schemeClr val="bg1"/>
                  </a:solidFill>
                  <a:latin typeface="Arial"/>
                  <a:cs typeface="Arial"/>
                </a:rPr>
                <a:t>furniture elements and interior </a:t>
              </a:r>
              <a:r>
                <a:rPr lang="en-US" sz="1600" dirty="0">
                  <a:solidFill>
                    <a:schemeClr val="bg1"/>
                  </a:solidFill>
                  <a:latin typeface="Arial"/>
                  <a:cs typeface="Arial"/>
                </a:rPr>
                <a:t>fit-out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6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80049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en-US" sz="3200" b="1" baseline="300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en-US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en-US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en-US" sz="2000"/>
              <a:t>Same reliable performance. 40%* less CO</a:t>
            </a:r>
            <a:r>
              <a:rPr lang="en-US" sz="2000" baseline="-25000"/>
              <a:t>2</a:t>
            </a:r>
            <a:r>
              <a:rPr lang="en-US" sz="2000"/>
              <a:t>. Makes sense.</a:t>
            </a:r>
            <a:br>
              <a:rPr lang="en-US" sz="2800"/>
            </a:br>
            <a:endParaRPr lang="en-GB" sz="2800"/>
          </a:p>
          <a:p>
            <a:pPr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614567"/>
            <a:ext cx="5854480" cy="2923877"/>
          </a:xfrm>
        </p:spPr>
        <p:txBody>
          <a:bodyPr vert="horz" wrap="square" lIns="0" tIns="0" rIns="0" bIns="0" anchor="t">
            <a:spAutoFit/>
          </a:bodyPr>
          <a:lstStyle/>
          <a:p>
            <a:r>
              <a:rPr lang="en-US" sz="1800" dirty="0">
                <a:cs typeface="Arial"/>
              </a:rPr>
              <a:t>Similar properties and adhesion values give the new </a:t>
            </a:r>
            <a:r>
              <a:rPr lang="en-US" sz="1800" err="1">
                <a:cs typeface="Arial"/>
              </a:rPr>
              <a:t>tesa</a:t>
            </a:r>
            <a:r>
              <a:rPr lang="en-US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en-US" sz="1800" b="1" dirty="0">
                <a:latin typeface="Arial"/>
                <a:ea typeface="Calibri"/>
                <a:cs typeface="Arial"/>
              </a:rPr>
              <a:t> </a:t>
            </a:r>
            <a:r>
              <a:rPr lang="en-US" sz="1800" dirty="0">
                <a:cs typeface="Arial"/>
              </a:rPr>
              <a:t>4965 Original Next Gen tape the same advantage in performance over other adhesive solutions as </a:t>
            </a:r>
            <a:endParaRPr lang="en-US" sz="1800"/>
          </a:p>
          <a:p>
            <a:r>
              <a:rPr lang="en-US" sz="1800" dirty="0" err="1">
                <a:cs typeface="Arial"/>
              </a:rPr>
              <a:t>tesa</a:t>
            </a:r>
            <a:r>
              <a:rPr lang="en-US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en-US" sz="1800" b="1" dirty="0">
                <a:latin typeface="Arial"/>
                <a:ea typeface="Calibri"/>
                <a:cs typeface="Arial"/>
              </a:rPr>
              <a:t> </a:t>
            </a:r>
            <a:r>
              <a:rPr lang="en-US" sz="1800" dirty="0">
                <a:cs typeface="Arial"/>
              </a:rPr>
              <a:t>4965 Original. </a:t>
            </a:r>
            <a:endParaRPr lang="en-US" sz="1800"/>
          </a:p>
          <a:p>
            <a:r>
              <a:rPr lang="en-US" sz="1800" dirty="0">
                <a:cs typeface="Arial"/>
              </a:rPr>
              <a:t>Combined with our decades of industry know-how and focus on sustainability, we are on the path to a more sustainable product line. It just makes sense.</a:t>
            </a:r>
          </a:p>
          <a:p>
            <a:endParaRPr lang="en-US" sz="400"/>
          </a:p>
          <a:p>
            <a:r>
              <a:rPr lang="en-US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Visit the </a:t>
            </a:r>
            <a:r>
              <a:rPr lang="en-US" sz="2000" b="1" dirty="0" err="1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tesa</a:t>
            </a:r>
            <a:r>
              <a:rPr lang="en-US" sz="2000" b="1" baseline="30000" dirty="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en-US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 page to find out more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800"/>
              </a:spcAft>
            </a:pPr>
            <a:r>
              <a:rPr lang="en-GB" sz="800" kern="0" dirty="0">
                <a:latin typeface="Arial"/>
                <a:ea typeface="Calibri"/>
                <a:cs typeface="Times New Roman"/>
              </a:rPr>
              <a:t>*Product Carbon Footprint (PCF) reduction for the new </a:t>
            </a:r>
            <a:r>
              <a:rPr lang="en-GB" sz="800" kern="0" dirty="0" err="1">
                <a:latin typeface="Arial"/>
                <a:ea typeface="Calibri"/>
                <a:cs typeface="Times New Roman"/>
              </a:rPr>
              <a:t>tesa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® 4965 Original Next Gen (50m x 50mm handroll, PV0: red MOPP liner) compared to the current </a:t>
            </a:r>
            <a:r>
              <a:rPr lang="en-GB" sz="800" kern="0" dirty="0" err="1">
                <a:latin typeface="Arial"/>
                <a:ea typeface="Calibri"/>
                <a:cs typeface="Times New Roman"/>
              </a:rPr>
              <a:t>tesa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® 4965 Original (50m x 50mm handroll, PV0: red MOPP liner) calculated in 2023 with Cradle-to-Gate values including biogenic carbon uptake. Individual PCF values for the other liner types (PV1, PV2, PV4) and further information you can find in our ISO 14067-compliant comparative PCF calculation on </a:t>
            </a:r>
            <a:r>
              <a:rPr lang="en-GB" sz="800" kern="0" dirty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en-GB" sz="800" kern="0" dirty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en-U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1846AAB1A4274F9986028A4B0205DB" ma:contentTypeVersion="18" ma:contentTypeDescription="Create a new document." ma:contentTypeScope="" ma:versionID="d7d2b008b9906fe9a01b3698d391fd92">
  <xsd:schema xmlns:xsd="http://www.w3.org/2001/XMLSchema" xmlns:xs="http://www.w3.org/2001/XMLSchema" xmlns:p="http://schemas.microsoft.com/office/2006/metadata/properties" xmlns:ns2="7210d724-798f-4f14-8efa-6190626d83d5" xmlns:ns3="d8bd49df-18a9-4de1-8c5b-2ba9944d8201" targetNamespace="http://schemas.microsoft.com/office/2006/metadata/properties" ma:root="true" ma:fieldsID="ce1bf39a6fdaf0e572c013be20d36633" ns2:_="" ns3:_="">
    <xsd:import namespace="7210d724-798f-4f14-8efa-6190626d83d5"/>
    <xsd:import namespace="d8bd49df-18a9-4de1-8c5b-2ba9944d82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CR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10d724-798f-4f14-8efa-6190626d83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7269d7b-637e-4eba-91a9-3149698657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d49df-18a9-4de1-8c5b-2ba9944d820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1ef1e85-4cbc-4413-95b3-357eca2b40c5}" ma:internalName="TaxCatchAll" ma:showField="CatchAllData" ma:web="d8bd49df-18a9-4de1-8c5b-2ba9944d820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8bd49df-18a9-4de1-8c5b-2ba9944d8201" xsi:nil="true"/>
    <lcf76f155ced4ddcb4097134ff3c332f xmlns="7210d724-798f-4f14-8efa-6190626d83d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A0AC61-252B-4367-8544-3BE42F9CAC95}">
  <ds:schemaRefs>
    <ds:schemaRef ds:uri="7210d724-798f-4f14-8efa-6190626d83d5"/>
    <ds:schemaRef ds:uri="d8bd49df-18a9-4de1-8c5b-2ba9944d820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04</Words>
  <Application>Microsoft Office PowerPoint</Application>
  <PresentationFormat>Custom</PresentationFormat>
  <Paragraphs>52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Template_tesa_16x9</vt:lpstr>
      <vt:lpstr>PowerPoint Presentation</vt:lpstr>
      <vt:lpstr>PowerPoint Presentation</vt:lpstr>
      <vt:lpstr>PowerPoint Presentation</vt:lpstr>
      <vt:lpstr>tesa® 4965 Original Next Gen  vs tesa® 4965 Original   Same tape. Same reliable performance.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Jonathan Stott</cp:lastModifiedBy>
  <cp:revision>29</cp:revision>
  <dcterms:created xsi:type="dcterms:W3CDTF">2023-05-03T09:17:24Z</dcterms:created>
  <dcterms:modified xsi:type="dcterms:W3CDTF">2023-11-06T16:0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1846AAB1A4274F9986028A4B0205DB</vt:lpwstr>
  </property>
  <property fmtid="{D5CDD505-2E9C-101B-9397-08002B2CF9AE}" pid="3" name="MediaServiceImageTags">
    <vt:lpwstr/>
  </property>
</Properties>
</file>